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80" r:id="rId2"/>
    <p:sldId id="281" r:id="rId3"/>
    <p:sldId id="282" r:id="rId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92D236-FB7A-48C3-A9CD-CE9524D4AF9D}" v="26" dt="2022-09-28T13:10:38.9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Groth" userId="c24eb254-3e4f-4f69-bf9a-8d2d5e84110c" providerId="ADAL" clId="{3892D236-FB7A-48C3-A9CD-CE9524D4AF9D}"/>
    <pc:docChg chg="custSel addSld modSld">
      <pc:chgData name="Lars Groth" userId="c24eb254-3e4f-4f69-bf9a-8d2d5e84110c" providerId="ADAL" clId="{3892D236-FB7A-48C3-A9CD-CE9524D4AF9D}" dt="2022-09-28T13:10:38.993" v="1215"/>
      <pc:docMkLst>
        <pc:docMk/>
      </pc:docMkLst>
      <pc:sldChg chg="modSp mod">
        <pc:chgData name="Lars Groth" userId="c24eb254-3e4f-4f69-bf9a-8d2d5e84110c" providerId="ADAL" clId="{3892D236-FB7A-48C3-A9CD-CE9524D4AF9D}" dt="2022-09-28T11:27:30.519" v="421" actId="20577"/>
        <pc:sldMkLst>
          <pc:docMk/>
          <pc:sldMk cId="3634713496" sldId="280"/>
        </pc:sldMkLst>
        <pc:spChg chg="mod">
          <ac:chgData name="Lars Groth" userId="c24eb254-3e4f-4f69-bf9a-8d2d5e84110c" providerId="ADAL" clId="{3892D236-FB7A-48C3-A9CD-CE9524D4AF9D}" dt="2022-09-28T11:19:10.531" v="106" actId="20577"/>
          <ac:spMkLst>
            <pc:docMk/>
            <pc:sldMk cId="3634713496" sldId="280"/>
            <ac:spMk id="11" creationId="{C43003F4-B738-3E15-CFAF-19003D920CBB}"/>
          </ac:spMkLst>
        </pc:spChg>
        <pc:spChg chg="mod">
          <ac:chgData name="Lars Groth" userId="c24eb254-3e4f-4f69-bf9a-8d2d5e84110c" providerId="ADAL" clId="{3892D236-FB7A-48C3-A9CD-CE9524D4AF9D}" dt="2022-09-28T11:27:30.519" v="421" actId="20577"/>
          <ac:spMkLst>
            <pc:docMk/>
            <pc:sldMk cId="3634713496" sldId="280"/>
            <ac:spMk id="22" creationId="{9A127CB3-1A4A-4F73-D25D-75CAE64CD4B8}"/>
          </ac:spMkLst>
        </pc:spChg>
        <pc:spChg chg="mod">
          <ac:chgData name="Lars Groth" userId="c24eb254-3e4f-4f69-bf9a-8d2d5e84110c" providerId="ADAL" clId="{3892D236-FB7A-48C3-A9CD-CE9524D4AF9D}" dt="2022-09-28T11:23:32.157" v="202" actId="20577"/>
          <ac:spMkLst>
            <pc:docMk/>
            <pc:sldMk cId="3634713496" sldId="280"/>
            <ac:spMk id="39" creationId="{DF73C7E5-8976-DCB7-D1DF-0D9AB3EF8C6A}"/>
          </ac:spMkLst>
        </pc:spChg>
        <pc:spChg chg="mod">
          <ac:chgData name="Lars Groth" userId="c24eb254-3e4f-4f69-bf9a-8d2d5e84110c" providerId="ADAL" clId="{3892D236-FB7A-48C3-A9CD-CE9524D4AF9D}" dt="2022-09-28T11:19:30.065" v="130" actId="20577"/>
          <ac:spMkLst>
            <pc:docMk/>
            <pc:sldMk cId="3634713496" sldId="280"/>
            <ac:spMk id="42" creationId="{B5C0778D-2CBF-98E6-3232-3EA202C452E1}"/>
          </ac:spMkLst>
        </pc:spChg>
        <pc:spChg chg="mod">
          <ac:chgData name="Lars Groth" userId="c24eb254-3e4f-4f69-bf9a-8d2d5e84110c" providerId="ADAL" clId="{3892D236-FB7A-48C3-A9CD-CE9524D4AF9D}" dt="2022-09-28T11:19:23.233" v="107"/>
          <ac:spMkLst>
            <pc:docMk/>
            <pc:sldMk cId="3634713496" sldId="280"/>
            <ac:spMk id="63" creationId="{51639434-D938-2174-ED1C-F62EE10FC868}"/>
          </ac:spMkLst>
        </pc:spChg>
        <pc:graphicFrameChg chg="modGraphic">
          <ac:chgData name="Lars Groth" userId="c24eb254-3e4f-4f69-bf9a-8d2d5e84110c" providerId="ADAL" clId="{3892D236-FB7A-48C3-A9CD-CE9524D4AF9D}" dt="2022-09-28T11:18:15.399" v="21" actId="20577"/>
          <ac:graphicFrameMkLst>
            <pc:docMk/>
            <pc:sldMk cId="3634713496" sldId="280"/>
            <ac:graphicFrameMk id="3" creationId="{3E0AE597-3FF9-7FFD-9CC2-9DF911D79360}"/>
          </ac:graphicFrameMkLst>
        </pc:graphicFrameChg>
        <pc:graphicFrameChg chg="modGraphic">
          <ac:chgData name="Lars Groth" userId="c24eb254-3e4f-4f69-bf9a-8d2d5e84110c" providerId="ADAL" clId="{3892D236-FB7A-48C3-A9CD-CE9524D4AF9D}" dt="2022-09-28T11:18:30.735" v="25" actId="6549"/>
          <ac:graphicFrameMkLst>
            <pc:docMk/>
            <pc:sldMk cId="3634713496" sldId="280"/>
            <ac:graphicFrameMk id="4" creationId="{AE160F98-032C-B368-BF2B-2BA65AB33745}"/>
          </ac:graphicFrameMkLst>
        </pc:graphicFrameChg>
        <pc:graphicFrameChg chg="modGraphic">
          <ac:chgData name="Lars Groth" userId="c24eb254-3e4f-4f69-bf9a-8d2d5e84110c" providerId="ADAL" clId="{3892D236-FB7A-48C3-A9CD-CE9524D4AF9D}" dt="2022-09-28T11:18:43.698" v="27" actId="6549"/>
          <ac:graphicFrameMkLst>
            <pc:docMk/>
            <pc:sldMk cId="3634713496" sldId="280"/>
            <ac:graphicFrameMk id="40" creationId="{CFC50557-FB61-00D5-EBB5-66D082B4ADA1}"/>
          </ac:graphicFrameMkLst>
        </pc:graphicFrameChg>
      </pc:sldChg>
      <pc:sldChg chg="addSp delSp modSp add mod">
        <pc:chgData name="Lars Groth" userId="c24eb254-3e4f-4f69-bf9a-8d2d5e84110c" providerId="ADAL" clId="{3892D236-FB7A-48C3-A9CD-CE9524D4AF9D}" dt="2022-09-28T12:57:35.007" v="715" actId="14100"/>
        <pc:sldMkLst>
          <pc:docMk/>
          <pc:sldMk cId="181013635" sldId="281"/>
        </pc:sldMkLst>
        <pc:spChg chg="mod">
          <ac:chgData name="Lars Groth" userId="c24eb254-3e4f-4f69-bf9a-8d2d5e84110c" providerId="ADAL" clId="{3892D236-FB7A-48C3-A9CD-CE9524D4AF9D}" dt="2022-09-28T12:41:47.634" v="466" actId="20577"/>
          <ac:spMkLst>
            <pc:docMk/>
            <pc:sldMk cId="181013635" sldId="281"/>
            <ac:spMk id="2" creationId="{6101B692-37D9-9B72-A1B2-35A47ABA4F3A}"/>
          </ac:spMkLst>
        </pc:spChg>
        <pc:spChg chg="add del mod">
          <ac:chgData name="Lars Groth" userId="c24eb254-3e4f-4f69-bf9a-8d2d5e84110c" providerId="ADAL" clId="{3892D236-FB7A-48C3-A9CD-CE9524D4AF9D}" dt="2022-09-28T12:54:58.707" v="708" actId="478"/>
          <ac:spMkLst>
            <pc:docMk/>
            <pc:sldMk cId="181013635" sldId="281"/>
            <ac:spMk id="4" creationId="{854E922E-18D6-5112-82D4-063719892E3D}"/>
          </ac:spMkLst>
        </pc:spChg>
        <pc:spChg chg="mod">
          <ac:chgData name="Lars Groth" userId="c24eb254-3e4f-4f69-bf9a-8d2d5e84110c" providerId="ADAL" clId="{3892D236-FB7A-48C3-A9CD-CE9524D4AF9D}" dt="2022-09-28T12:53:59.131" v="705" actId="20577"/>
          <ac:spMkLst>
            <pc:docMk/>
            <pc:sldMk cId="181013635" sldId="281"/>
            <ac:spMk id="5" creationId="{D7C50B33-93EC-A88F-F4D3-029D3C1B4522}"/>
          </ac:spMkLst>
        </pc:spChg>
        <pc:spChg chg="del">
          <ac:chgData name="Lars Groth" userId="c24eb254-3e4f-4f69-bf9a-8d2d5e84110c" providerId="ADAL" clId="{3892D236-FB7A-48C3-A9CD-CE9524D4AF9D}" dt="2022-09-28T12:53:56.248" v="704" actId="478"/>
          <ac:spMkLst>
            <pc:docMk/>
            <pc:sldMk cId="181013635" sldId="281"/>
            <ac:spMk id="7" creationId="{3655DEAB-DF1E-192F-28A3-4D2FB28A04E4}"/>
          </ac:spMkLst>
        </pc:spChg>
        <pc:spChg chg="mod">
          <ac:chgData name="Lars Groth" userId="c24eb254-3e4f-4f69-bf9a-8d2d5e84110c" providerId="ADAL" clId="{3892D236-FB7A-48C3-A9CD-CE9524D4AF9D}" dt="2022-09-28T12:47:56.770" v="541" actId="20577"/>
          <ac:spMkLst>
            <pc:docMk/>
            <pc:sldMk cId="181013635" sldId="281"/>
            <ac:spMk id="8" creationId="{E9476ACF-F4F3-3D37-36A0-C39A8453A2EA}"/>
          </ac:spMkLst>
        </pc:spChg>
        <pc:spChg chg="add del">
          <ac:chgData name="Lars Groth" userId="c24eb254-3e4f-4f69-bf9a-8d2d5e84110c" providerId="ADAL" clId="{3892D236-FB7A-48C3-A9CD-CE9524D4AF9D}" dt="2022-09-28T12:55:21.540" v="710" actId="478"/>
          <ac:spMkLst>
            <pc:docMk/>
            <pc:sldMk cId="181013635" sldId="281"/>
            <ac:spMk id="9" creationId="{6BE5C957-212B-B2E5-1FB9-23FD92C08429}"/>
          </ac:spMkLst>
        </pc:spChg>
        <pc:spChg chg="mod">
          <ac:chgData name="Lars Groth" userId="c24eb254-3e4f-4f69-bf9a-8d2d5e84110c" providerId="ADAL" clId="{3892D236-FB7A-48C3-A9CD-CE9524D4AF9D}" dt="2022-09-28T12:53:41.272" v="703" actId="6549"/>
          <ac:spMkLst>
            <pc:docMk/>
            <pc:sldMk cId="181013635" sldId="281"/>
            <ac:spMk id="12" creationId="{576DD03A-2180-6849-675E-DB436DFA97B8}"/>
          </ac:spMkLst>
        </pc:spChg>
        <pc:picChg chg="add del">
          <ac:chgData name="Lars Groth" userId="c24eb254-3e4f-4f69-bf9a-8d2d5e84110c" providerId="ADAL" clId="{3892D236-FB7A-48C3-A9CD-CE9524D4AF9D}" dt="2022-09-28T12:56:14.272" v="712" actId="478"/>
          <ac:picMkLst>
            <pc:docMk/>
            <pc:sldMk cId="181013635" sldId="281"/>
            <ac:picMk id="1030" creationId="{7CFDC93D-4DF6-0EF5-A58A-F67FB310772C}"/>
          </ac:picMkLst>
        </pc:picChg>
        <pc:picChg chg="add mod">
          <ac:chgData name="Lars Groth" userId="c24eb254-3e4f-4f69-bf9a-8d2d5e84110c" providerId="ADAL" clId="{3892D236-FB7A-48C3-A9CD-CE9524D4AF9D}" dt="2022-09-28T12:57:35.007" v="715" actId="14100"/>
          <ac:picMkLst>
            <pc:docMk/>
            <pc:sldMk cId="181013635" sldId="281"/>
            <ac:picMk id="1032" creationId="{B326FB38-5394-C870-5183-D70BD8652C8D}"/>
          </ac:picMkLst>
        </pc:picChg>
        <pc:cxnChg chg="mod">
          <ac:chgData name="Lars Groth" userId="c24eb254-3e4f-4f69-bf9a-8d2d5e84110c" providerId="ADAL" clId="{3892D236-FB7A-48C3-A9CD-CE9524D4AF9D}" dt="2022-09-28T12:47:40.040" v="496" actId="20577"/>
          <ac:cxnSpMkLst>
            <pc:docMk/>
            <pc:sldMk cId="181013635" sldId="281"/>
            <ac:cxnSpMk id="10" creationId="{5D208D65-C6D0-B089-293F-795599241B10}"/>
          </ac:cxnSpMkLst>
        </pc:cxnChg>
      </pc:sldChg>
      <pc:sldChg chg="addSp delSp modSp add mod">
        <pc:chgData name="Lars Groth" userId="c24eb254-3e4f-4f69-bf9a-8d2d5e84110c" providerId="ADAL" clId="{3892D236-FB7A-48C3-A9CD-CE9524D4AF9D}" dt="2022-09-28T13:10:38.993" v="1215"/>
        <pc:sldMkLst>
          <pc:docMk/>
          <pc:sldMk cId="4290941012" sldId="282"/>
        </pc:sldMkLst>
        <pc:spChg chg="add mod">
          <ac:chgData name="Lars Groth" userId="c24eb254-3e4f-4f69-bf9a-8d2d5e84110c" providerId="ADAL" clId="{3892D236-FB7A-48C3-A9CD-CE9524D4AF9D}" dt="2022-09-28T13:10:38.993" v="1215"/>
          <ac:spMkLst>
            <pc:docMk/>
            <pc:sldMk cId="4290941012" sldId="282"/>
            <ac:spMk id="2" creationId="{6AE3460A-4D0C-6662-9312-5CCB4A3657EE}"/>
          </ac:spMkLst>
        </pc:spChg>
        <pc:spChg chg="add del">
          <ac:chgData name="Lars Groth" userId="c24eb254-3e4f-4f69-bf9a-8d2d5e84110c" providerId="ADAL" clId="{3892D236-FB7A-48C3-A9CD-CE9524D4AF9D}" dt="2022-09-28T13:01:52.948" v="1079" actId="478"/>
          <ac:spMkLst>
            <pc:docMk/>
            <pc:sldMk cId="4290941012" sldId="282"/>
            <ac:spMk id="4" creationId="{14D9ADCF-20ED-EF30-126B-4DA342BCF881}"/>
          </ac:spMkLst>
        </pc:spChg>
        <pc:spChg chg="mod">
          <ac:chgData name="Lars Groth" userId="c24eb254-3e4f-4f69-bf9a-8d2d5e84110c" providerId="ADAL" clId="{3892D236-FB7A-48C3-A9CD-CE9524D4AF9D}" dt="2022-09-28T13:04:10.314" v="1161" actId="20577"/>
          <ac:spMkLst>
            <pc:docMk/>
            <pc:sldMk cId="4290941012" sldId="282"/>
            <ac:spMk id="6" creationId="{4EFDF338-A92B-CBD7-959B-09BF99EC3CE8}"/>
          </ac:spMkLst>
        </pc:spChg>
        <pc:spChg chg="add mod">
          <ac:chgData name="Lars Groth" userId="c24eb254-3e4f-4f69-bf9a-8d2d5e84110c" providerId="ADAL" clId="{3892D236-FB7A-48C3-A9CD-CE9524D4AF9D}" dt="2022-09-28T13:05:15.865" v="1214" actId="255"/>
          <ac:spMkLst>
            <pc:docMk/>
            <pc:sldMk cId="4290941012" sldId="282"/>
            <ac:spMk id="8" creationId="{60102352-4B8F-F12C-06B2-326F231DA357}"/>
          </ac:spMkLst>
        </pc:spChg>
        <pc:spChg chg="del mod">
          <ac:chgData name="Lars Groth" userId="c24eb254-3e4f-4f69-bf9a-8d2d5e84110c" providerId="ADAL" clId="{3892D236-FB7A-48C3-A9CD-CE9524D4AF9D}" dt="2022-09-28T12:59:07.364" v="874" actId="478"/>
          <ac:spMkLst>
            <pc:docMk/>
            <pc:sldMk cId="4290941012" sldId="282"/>
            <ac:spMk id="10" creationId="{D53AC7DB-A443-17D0-7B76-6EEFFE802AAC}"/>
          </ac:spMkLst>
        </pc:spChg>
        <pc:spChg chg="del">
          <ac:chgData name="Lars Groth" userId="c24eb254-3e4f-4f69-bf9a-8d2d5e84110c" providerId="ADAL" clId="{3892D236-FB7A-48C3-A9CD-CE9524D4AF9D}" dt="2022-09-28T12:59:52.951" v="876" actId="478"/>
          <ac:spMkLst>
            <pc:docMk/>
            <pc:sldMk cId="4290941012" sldId="282"/>
            <ac:spMk id="14" creationId="{C103CB93-2099-7320-E5A2-CD36A2D5616A}"/>
          </ac:spMkLst>
        </pc:spChg>
        <pc:spChg chg="del">
          <ac:chgData name="Lars Groth" userId="c24eb254-3e4f-4f69-bf9a-8d2d5e84110c" providerId="ADAL" clId="{3892D236-FB7A-48C3-A9CD-CE9524D4AF9D}" dt="2022-09-28T12:59:51.087" v="875" actId="478"/>
          <ac:spMkLst>
            <pc:docMk/>
            <pc:sldMk cId="4290941012" sldId="282"/>
            <ac:spMk id="16" creationId="{E73FCF54-4E3A-4139-51D6-F83F2BD8D961}"/>
          </ac:spMkLst>
        </pc:spChg>
        <pc:spChg chg="del">
          <ac:chgData name="Lars Groth" userId="c24eb254-3e4f-4f69-bf9a-8d2d5e84110c" providerId="ADAL" clId="{3892D236-FB7A-48C3-A9CD-CE9524D4AF9D}" dt="2022-09-28T12:59:54.891" v="877" actId="478"/>
          <ac:spMkLst>
            <pc:docMk/>
            <pc:sldMk cId="4290941012" sldId="282"/>
            <ac:spMk id="18" creationId="{11177BDF-0A97-25AC-C73A-97F37D58B2DE}"/>
          </ac:spMkLst>
        </pc:spChg>
        <pc:spChg chg="mod">
          <ac:chgData name="Lars Groth" userId="c24eb254-3e4f-4f69-bf9a-8d2d5e84110c" providerId="ADAL" clId="{3892D236-FB7A-48C3-A9CD-CE9524D4AF9D}" dt="2022-09-28T13:04:18.998" v="1166" actId="20577"/>
          <ac:spMkLst>
            <pc:docMk/>
            <pc:sldMk cId="4290941012" sldId="282"/>
            <ac:spMk id="19" creationId="{B74A1F81-37D7-69FA-2B6F-F2345B890B4D}"/>
          </ac:spMkLst>
        </pc:spChg>
        <pc:picChg chg="add del mod">
          <ac:chgData name="Lars Groth" userId="c24eb254-3e4f-4f69-bf9a-8d2d5e84110c" providerId="ADAL" clId="{3892D236-FB7A-48C3-A9CD-CE9524D4AF9D}" dt="2022-09-28T13:00:10.250" v="880" actId="478"/>
          <ac:picMkLst>
            <pc:docMk/>
            <pc:sldMk cId="4290941012" sldId="282"/>
            <ac:picMk id="2" creationId="{C6E65906-D830-3DD4-C079-5BFA05488B82}"/>
          </ac:picMkLst>
        </pc:picChg>
        <pc:picChg chg="del">
          <ac:chgData name="Lars Groth" userId="c24eb254-3e4f-4f69-bf9a-8d2d5e84110c" providerId="ADAL" clId="{3892D236-FB7A-48C3-A9CD-CE9524D4AF9D}" dt="2022-09-28T12:59:59.126" v="878" actId="21"/>
          <ac:picMkLst>
            <pc:docMk/>
            <pc:sldMk cId="4290941012" sldId="282"/>
            <ac:picMk id="5" creationId="{E73F4EDD-8233-BF1F-49E6-3748A47F6E4B}"/>
          </ac:picMkLst>
        </pc:picChg>
        <pc:picChg chg="del">
          <ac:chgData name="Lars Groth" userId="c24eb254-3e4f-4f69-bf9a-8d2d5e84110c" providerId="ADAL" clId="{3892D236-FB7A-48C3-A9CD-CE9524D4AF9D}" dt="2022-09-28T13:01:33.583" v="1077" actId="478"/>
          <ac:picMkLst>
            <pc:docMk/>
            <pc:sldMk cId="4290941012" sldId="282"/>
            <ac:picMk id="1026" creationId="{5388F345-754C-14FD-E027-9A54E4FA9375}"/>
          </ac:picMkLst>
        </pc:picChg>
        <pc:picChg chg="add mod">
          <ac:chgData name="Lars Groth" userId="c24eb254-3e4f-4f69-bf9a-8d2d5e84110c" providerId="ADAL" clId="{3892D236-FB7A-48C3-A9CD-CE9524D4AF9D}" dt="2022-09-28T13:00:24.063" v="885" actId="14100"/>
          <ac:picMkLst>
            <pc:docMk/>
            <pc:sldMk cId="4290941012" sldId="282"/>
            <ac:picMk id="2050" creationId="{043E889F-D5C4-CF7B-6400-233BCC5CC24A}"/>
          </ac:picMkLst>
        </pc:picChg>
        <pc:picChg chg="add mod">
          <ac:chgData name="Lars Groth" userId="c24eb254-3e4f-4f69-bf9a-8d2d5e84110c" providerId="ADAL" clId="{3892D236-FB7A-48C3-A9CD-CE9524D4AF9D}" dt="2022-09-28T13:02:58.051" v="1083" actId="1076"/>
          <ac:picMkLst>
            <pc:docMk/>
            <pc:sldMk cId="4290941012" sldId="282"/>
            <ac:picMk id="2054" creationId="{76F2412D-CE46-4223-592B-9C29115CDD0F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33D46-EE6E-40A2-AA63-6B9F538275C2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4E7722-D92D-45B9-A985-6B89075E792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0955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84B85-DB3D-DD4D-9E57-7F331AD65C42}" type="slidenum">
              <a:rPr lang="da-DK" smtClean="0"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49854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A4BB26-7BF7-09C0-CCAB-11D99E03D3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2F172C0-17FC-C0BF-EF28-05E6A618A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E8BE7AD-E543-B968-FC25-816F08E85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5A686C6-7FE3-D9FB-9ECA-7EAE24D4B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F35EA2D-F2AA-49A7-6FC6-0F227A7A0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33640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03872-889D-442F-DEB5-B2504EDFC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29562A67-7EE8-8AE7-102C-230AFD25BF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53B35D0-7ACA-8465-6295-9BF51A0945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4C6E653-9275-2D3E-CD1A-FF84624D3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FC4F676-8D41-0A9D-DB26-8B9611394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64395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5D2FC41E-3D2B-FEBD-3F8B-35EEECBE89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3218418B-3AD7-DB68-9A5E-F9F72A235A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8D53F9D-D43B-337E-3E8B-B750F0796E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EFB5234-640B-CE6A-BEED-25036FFD9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9B0CABD-A6A6-2168-D839-09FB5DB02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3483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48DF63-0DDB-9F8F-C484-7A33C3577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3C212FC-D1E1-898A-8D03-ACB6AAE631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9EC75A0-127D-027F-6B9B-EC85AFF47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A5310BF-332C-8FCA-5AB1-E60089C4D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E0031EC-F790-E3C2-E253-25B40AB3D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16738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D83DBC-D6F8-C02B-3194-E8B508D91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22A5E28-6F52-201B-A01F-745CC411E1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5C1D6C2-AFFE-CE6C-48E0-9FF09078E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0B804B1-E7F6-8D48-4C3E-3DCB37DA7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42D4A14-8681-0A29-44BE-CDED00AE61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58624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76CD0-9DD0-CAB0-4EE4-5BC3D600BF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A4D1C3D-4A69-1879-A459-5D4ACF5E13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8FACE4A-BA32-B9DB-3DF8-E6A7D651A7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EE98EA7-DFDD-F1D5-5FB7-8CDB908A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3B00B9A-0FD7-87AC-C85F-7B775CF7E2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DD126C9-2F16-09F6-88A4-D79EAB9D9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388955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565569-9907-D673-B05D-ED539D048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24BC5FE-4711-B7E9-3E53-CA7F1CF3A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7DE2899-A2E3-D3A0-E850-45EDE71977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DE31C43-243E-E5FB-ED4E-BCAE381CB2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C5FE4FB1-7BA6-B564-C1C9-EE7984F93C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43696FA8-1993-D913-5D55-1351F6189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46C9851-4E1F-8565-86CB-AF647F6AC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EECDB69A-2D37-6EEF-B490-821643D77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0970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CA2BAE-D085-EA98-1F05-CB93E97A5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E487190-062E-1EA4-38C3-261C19A244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40AF1D5-1E33-A186-C594-C9560F3AB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9378B4F-076A-33B8-FA00-868DE1096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88846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7BEDC3A-E629-09EF-7E58-D0F2D25A1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6A32E80-1C41-B64E-709F-D2649F1F1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0B578DC-3955-FEBB-29FA-C52505497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61380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91167D-6A9B-9939-D1A5-B4C197138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ACA3770-8CCF-07D0-8B29-A0FEF929F2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7501D5F-36A5-7CD1-59F0-6B720124C37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CC32911-4F9B-8B46-E5F4-6AC9AB3C3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C296132-C6B1-10F9-2009-CD267B03F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E2EF427-D2BA-BE78-1D16-5009440B2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92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F8DFD8-3BA3-A9AC-781E-8DC070ECB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D0A2DF5-CE96-5D1C-CB28-5D35546412D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C7D8C58-59B4-C7CD-5927-C22BCA5F1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EB8B05C-8FEA-9BE7-D637-CF97940DA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DF064F4-7709-BA03-2327-A01FBDC854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38F0975-2C91-E8B8-BE35-3EC8DF0B4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02989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4B8DD92-CB3C-2B05-EB1E-BBE95AEFC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D4D62F6-0901-A507-0781-27F5FB078E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4F0A1B0-C15B-23B2-56B5-476B6D7778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D1C455-CE11-4B11-9A88-AFE99F3F9060}" type="datetimeFigureOut">
              <a:rPr lang="da-DK" smtClean="0"/>
              <a:t>28-09-2022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EF3B791-425A-721F-F76E-2AF6530895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EB9F076-F1A2-4F97-75AA-DB29EA6FDD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A30604-F412-4BDC-BF8D-0A9FB5716D4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55276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ingeo.dk/adresse/2820-gentofte/herredsvej-36/#energimaerke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hyperlink" Target="https://www.dingeo.dk/data/skat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extBox 13">
            <a:extLst>
              <a:ext uri="{FF2B5EF4-FFF2-40B4-BE49-F238E27FC236}">
                <a16:creationId xmlns:a16="http://schemas.microsoft.com/office/drawing/2014/main" id="{54132EE5-F347-CC2A-FFB9-D76C99530E4A}"/>
              </a:ext>
            </a:extLst>
          </p:cNvPr>
          <p:cNvSpPr txBox="1"/>
          <p:nvPr/>
        </p:nvSpPr>
        <p:spPr>
          <a:xfrm>
            <a:off x="157235" y="5685552"/>
            <a:ext cx="4871963" cy="9437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GDPR        JURA      ANDET</a:t>
            </a:r>
          </a:p>
          <a:p>
            <a:r>
              <a:rPr lang="en-US" sz="1200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417CE814-F503-BBBF-27FC-E40B5B031049}"/>
              </a:ext>
            </a:extLst>
          </p:cNvPr>
          <p:cNvSpPr txBox="1"/>
          <p:nvPr/>
        </p:nvSpPr>
        <p:spPr>
          <a:xfrm>
            <a:off x="5130800" y="4191000"/>
            <a:ext cx="2793999" cy="23507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pPr>
              <a:lnSpc>
                <a:spcPct val="15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ØBER 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JER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ÆGLER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 </a:t>
            </a:r>
          </a:p>
          <a:p>
            <a:pPr lvl="1">
              <a:lnSpc>
                <a:spcPct val="15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TextBox 13">
            <a:extLst>
              <a:ext uri="{FF2B5EF4-FFF2-40B4-BE49-F238E27FC236}">
                <a16:creationId xmlns:a16="http://schemas.microsoft.com/office/drawing/2014/main" id="{FB11AB32-B23F-CC25-1E09-22881D371E52}"/>
              </a:ext>
            </a:extLst>
          </p:cNvPr>
          <p:cNvSpPr txBox="1"/>
          <p:nvPr/>
        </p:nvSpPr>
        <p:spPr>
          <a:xfrm>
            <a:off x="8432801" y="4903386"/>
            <a:ext cx="3608567" cy="17034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b="1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t:</a:t>
            </a: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/ Business case: </a:t>
            </a: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vikling:</a:t>
            </a: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X / Design: </a:t>
            </a: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b="1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sternt: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13">
            <a:extLst>
              <a:ext uri="{FF2B5EF4-FFF2-40B4-BE49-F238E27FC236}">
                <a16:creationId xmlns:a16="http://schemas.microsoft.com/office/drawing/2014/main" id="{82E50FCD-B407-793C-5486-5C894DF804BD}"/>
              </a:ext>
            </a:extLst>
          </p:cNvPr>
          <p:cNvSpPr txBox="1"/>
          <p:nvPr/>
        </p:nvSpPr>
        <p:spPr>
          <a:xfrm>
            <a:off x="5130800" y="924198"/>
            <a:ext cx="2794001" cy="32333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pPr>
              <a:lnSpc>
                <a:spcPct val="200000"/>
              </a:lnSpc>
            </a:pP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SÆTNING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FIK/SEO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S</a:t>
            </a:r>
          </a:p>
          <a:p>
            <a:pPr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SSION</a:t>
            </a:r>
          </a:p>
          <a:p>
            <a:pPr>
              <a:lnSpc>
                <a:spcPct val="20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00000"/>
              </a:lnSpc>
            </a:pP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13">
            <a:extLst>
              <a:ext uri="{FF2B5EF4-FFF2-40B4-BE49-F238E27FC236}">
                <a16:creationId xmlns:a16="http://schemas.microsoft.com/office/drawing/2014/main" id="{5304056E-2D2E-6F5F-EFD1-8D659DECCA3B}"/>
              </a:ext>
            </a:extLst>
          </p:cNvPr>
          <p:cNvSpPr txBox="1"/>
          <p:nvPr/>
        </p:nvSpPr>
        <p:spPr>
          <a:xfrm>
            <a:off x="157237" y="4187027"/>
            <a:ext cx="4871963" cy="14270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pPr>
              <a:lnSpc>
                <a:spcPct val="15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BOLIGA.DK		     BOLIGA APP</a:t>
            </a:r>
          </a:p>
          <a:p>
            <a:pPr lvl="1"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DIN GEO		     SELVSALG</a:t>
            </a:r>
          </a:p>
          <a:p>
            <a:pPr lvl="1"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TVANG		     UDENOMBANKEN</a:t>
            </a:r>
          </a:p>
        </p:txBody>
      </p:sp>
      <p:sp>
        <p:nvSpPr>
          <p:cNvPr id="22" name="TextBox 13">
            <a:extLst>
              <a:ext uri="{FF2B5EF4-FFF2-40B4-BE49-F238E27FC236}">
                <a16:creationId xmlns:a16="http://schemas.microsoft.com/office/drawing/2014/main" id="{9A127CB3-1A4A-4F73-D25D-75CAE64CD4B8}"/>
              </a:ext>
            </a:extLst>
          </p:cNvPr>
          <p:cNvSpPr txBox="1"/>
          <p:nvPr/>
        </p:nvSpPr>
        <p:spPr>
          <a:xfrm>
            <a:off x="162834" y="909837"/>
            <a:ext cx="4850680" cy="33251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BEF” optræder i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geo.dk. Formålet med dette projekt er at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å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BEF” ud på en selvstændig side med samme funktionalitet som i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ræddersy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optimeringsplan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linke direkte til siden og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BEF” som indtrækker. 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stra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ktionalit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d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dater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spareplaner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d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tidens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priser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es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rede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os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hus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mark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skal også opbygges tracking og dataopsamling, så denne brugergruppe kan defineres med henblik på at indgå i kommercielle sammenhænge.    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13">
            <a:extLst>
              <a:ext uri="{FF2B5EF4-FFF2-40B4-BE49-F238E27FC236}">
                <a16:creationId xmlns:a16="http://schemas.microsoft.com/office/drawing/2014/main" id="{08B08117-D2F0-944F-01DC-E1EB57E12177}"/>
              </a:ext>
            </a:extLst>
          </p:cNvPr>
          <p:cNvSpPr txBox="1"/>
          <p:nvPr/>
        </p:nvSpPr>
        <p:spPr>
          <a:xfrm>
            <a:off x="685484" y="3956368"/>
            <a:ext cx="2083117" cy="4306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endParaRPr lang="en-US" sz="933" spc="205" dirty="0">
              <a:latin typeface="Montserrat Classic"/>
            </a:endParaRPr>
          </a:p>
          <a:p>
            <a:endParaRPr lang="en-US" sz="933" spc="205" dirty="0">
              <a:latin typeface="Montserrat Classic"/>
            </a:endParaRPr>
          </a:p>
          <a:p>
            <a:endParaRPr lang="en-US" sz="933" spc="205" dirty="0">
              <a:latin typeface="Montserrat Classic"/>
            </a:endParaRP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10C12001-6476-DB24-24EB-C3FE983911A2}"/>
              </a:ext>
            </a:extLst>
          </p:cNvPr>
          <p:cNvSpPr txBox="1"/>
          <p:nvPr/>
        </p:nvSpPr>
        <p:spPr>
          <a:xfrm>
            <a:off x="8431225" y="1121172"/>
            <a:ext cx="3607655" cy="22574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t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:LAG</a:t>
            </a: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leder:</a:t>
            </a: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vikler(e):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er(e):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vrige (evt. eksterne):</a:t>
            </a:r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AutoShape 8">
            <a:extLst>
              <a:ext uri="{FF2B5EF4-FFF2-40B4-BE49-F238E27FC236}">
                <a16:creationId xmlns:a16="http://schemas.microsoft.com/office/drawing/2014/main" id="{65F1A35A-40C8-0066-765B-1B5553F0946F}"/>
              </a:ext>
            </a:extLst>
          </p:cNvPr>
          <p:cNvSpPr/>
          <p:nvPr/>
        </p:nvSpPr>
        <p:spPr>
          <a:xfrm>
            <a:off x="8431224" y="1118254"/>
            <a:ext cx="3607846" cy="409318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REDE</a:t>
            </a:r>
            <a:r>
              <a:rPr lang="da-DK" sz="106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a-DK" sz="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13">
            <a:extLst>
              <a:ext uri="{FF2B5EF4-FFF2-40B4-BE49-F238E27FC236}">
                <a16:creationId xmlns:a16="http://schemas.microsoft.com/office/drawing/2014/main" id="{47F1A77B-63C9-FEDD-0D0E-93092C8BB383}"/>
              </a:ext>
            </a:extLst>
          </p:cNvPr>
          <p:cNvSpPr txBox="1"/>
          <p:nvPr/>
        </p:nvSpPr>
        <p:spPr>
          <a:xfrm>
            <a:off x="152401" y="76201"/>
            <a:ext cx="7772399" cy="759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rett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8.9 2022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LAG </a:t>
            </a:r>
          </a:p>
        </p:txBody>
      </p:sp>
      <p:sp>
        <p:nvSpPr>
          <p:cNvPr id="39" name="AutoShape 8">
            <a:extLst>
              <a:ext uri="{FF2B5EF4-FFF2-40B4-BE49-F238E27FC236}">
                <a16:creationId xmlns:a16="http://schemas.microsoft.com/office/drawing/2014/main" id="{DF73C7E5-8976-DCB7-D1DF-0D9AB3EF8C6A}"/>
              </a:ext>
            </a:extLst>
          </p:cNvPr>
          <p:cNvSpPr/>
          <p:nvPr/>
        </p:nvSpPr>
        <p:spPr>
          <a:xfrm>
            <a:off x="130255" y="60234"/>
            <a:ext cx="7794544" cy="451479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ONE PAGER: BOLIGA ENERGIFORBEDRINGER (BEF)</a:t>
            </a:r>
            <a:b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</a:t>
            </a:r>
            <a:r>
              <a:rPr lang="da-DK" sz="10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GATEMODEL</a:t>
            </a:r>
            <a:endParaRPr lang="da-DK" sz="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utoShape 8"/>
          <p:cNvSpPr/>
          <p:nvPr/>
        </p:nvSpPr>
        <p:spPr>
          <a:xfrm>
            <a:off x="150633" y="909837"/>
            <a:ext cx="4873277" cy="357755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ÅL OG OMFANG</a:t>
            </a:r>
          </a:p>
        </p:txBody>
      </p:sp>
      <p:sp>
        <p:nvSpPr>
          <p:cNvPr id="45" name="AutoShape 8">
            <a:extLst>
              <a:ext uri="{FF2B5EF4-FFF2-40B4-BE49-F238E27FC236}">
                <a16:creationId xmlns:a16="http://schemas.microsoft.com/office/drawing/2014/main" id="{15C32F67-E0F0-240B-F042-770B96D6CC22}"/>
              </a:ext>
            </a:extLst>
          </p:cNvPr>
          <p:cNvSpPr/>
          <p:nvPr/>
        </p:nvSpPr>
        <p:spPr>
          <a:xfrm>
            <a:off x="150634" y="4191001"/>
            <a:ext cx="4878565" cy="43088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VIKLES TIL  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13">
            <a:extLst>
              <a:ext uri="{FF2B5EF4-FFF2-40B4-BE49-F238E27FC236}">
                <a16:creationId xmlns:a16="http://schemas.microsoft.com/office/drawing/2014/main" id="{73D6F5C7-894A-2136-EA8F-B85EDD6B0E10}"/>
              </a:ext>
            </a:extLst>
          </p:cNvPr>
          <p:cNvSpPr txBox="1"/>
          <p:nvPr/>
        </p:nvSpPr>
        <p:spPr>
          <a:xfrm>
            <a:off x="8432733" y="96465"/>
            <a:ext cx="3606867" cy="9437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333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kendt    Afvist     Pause     . 2022</a:t>
            </a:r>
          </a:p>
          <a:p>
            <a:r>
              <a:rPr lang="en-US" sz="1200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85" name="AutoShape 8">
            <a:extLst>
              <a:ext uri="{FF2B5EF4-FFF2-40B4-BE49-F238E27FC236}">
                <a16:creationId xmlns:a16="http://schemas.microsoft.com/office/drawing/2014/main" id="{F1FC0BDE-83EA-D4B8-1313-9FA8DE5F100D}"/>
              </a:ext>
            </a:extLst>
          </p:cNvPr>
          <p:cNvSpPr/>
          <p:nvPr/>
        </p:nvSpPr>
        <p:spPr>
          <a:xfrm>
            <a:off x="162843" y="5702763"/>
            <a:ext cx="4878564" cy="43220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ÆRLIGE FORHOLD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AutoShape 8">
            <a:extLst>
              <a:ext uri="{FF2B5EF4-FFF2-40B4-BE49-F238E27FC236}">
                <a16:creationId xmlns:a16="http://schemas.microsoft.com/office/drawing/2014/main" id="{5E2B7DF0-014E-F0BF-0B39-15B9DD3C3C5B}"/>
              </a:ext>
            </a:extLst>
          </p:cNvPr>
          <p:cNvSpPr/>
          <p:nvPr/>
        </p:nvSpPr>
        <p:spPr>
          <a:xfrm>
            <a:off x="8432800" y="105759"/>
            <a:ext cx="3606079" cy="43088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AutoShape 8">
            <a:extLst>
              <a:ext uri="{FF2B5EF4-FFF2-40B4-BE49-F238E27FC236}">
                <a16:creationId xmlns:a16="http://schemas.microsoft.com/office/drawing/2014/main" id="{EC97EC4A-EFF8-6924-B24F-5676BA8C2997}"/>
              </a:ext>
            </a:extLst>
          </p:cNvPr>
          <p:cNvSpPr/>
          <p:nvPr/>
        </p:nvSpPr>
        <p:spPr>
          <a:xfrm>
            <a:off x="8432800" y="4902201"/>
            <a:ext cx="3608758" cy="43088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KOSTNINGER (ESTIMAT)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3" name="Lige forbindelse 112">
            <a:extLst>
              <a:ext uri="{FF2B5EF4-FFF2-40B4-BE49-F238E27FC236}">
                <a16:creationId xmlns:a16="http://schemas.microsoft.com/office/drawing/2014/main" id="{EC5825E7-4D64-3E73-AE2F-0DDA45C4D204}"/>
              </a:ext>
            </a:extLst>
          </p:cNvPr>
          <p:cNvCxnSpPr>
            <a:cxnSpLocks/>
          </p:cNvCxnSpPr>
          <p:nvPr/>
        </p:nvCxnSpPr>
        <p:spPr>
          <a:xfrm>
            <a:off x="8178800" y="76200"/>
            <a:ext cx="0" cy="6523642"/>
          </a:xfrm>
          <a:prstGeom prst="line">
            <a:avLst/>
          </a:prstGeom>
          <a:ln w="15875" cmpd="sng">
            <a:solidFill>
              <a:srgbClr val="002060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3">
            <a:extLst>
              <a:ext uri="{FF2B5EF4-FFF2-40B4-BE49-F238E27FC236}">
                <a16:creationId xmlns:a16="http://schemas.microsoft.com/office/drawing/2014/main" id="{161567B0-E1B5-04B6-0779-DC5EC310646B}"/>
              </a:ext>
            </a:extLst>
          </p:cNvPr>
          <p:cNvSpPr txBox="1"/>
          <p:nvPr/>
        </p:nvSpPr>
        <p:spPr>
          <a:xfrm>
            <a:off x="5013513" y="572095"/>
            <a:ext cx="828487" cy="215957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  <a:ln>
            <a:noFill/>
          </a:ln>
        </p:spPr>
        <p:txBody>
          <a:bodyPr wrap="square" lIns="72000" tIns="0" rIns="0" bIns="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IGA  </a:t>
            </a:r>
          </a:p>
        </p:txBody>
      </p:sp>
      <p:sp>
        <p:nvSpPr>
          <p:cNvPr id="9" name="AutoShape 8">
            <a:extLst>
              <a:ext uri="{FF2B5EF4-FFF2-40B4-BE49-F238E27FC236}">
                <a16:creationId xmlns:a16="http://schemas.microsoft.com/office/drawing/2014/main" id="{D6DB4B60-01AD-D10A-96AC-8E5E4EE07013}"/>
              </a:ext>
            </a:extLst>
          </p:cNvPr>
          <p:cNvSpPr/>
          <p:nvPr/>
        </p:nvSpPr>
        <p:spPr>
          <a:xfrm>
            <a:off x="5130800" y="4192156"/>
            <a:ext cx="2793999" cy="430887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SK MÅLGRUPPE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AE14721D-8A9F-B323-4909-8DFC9B67D7BF}"/>
              </a:ext>
            </a:extLst>
          </p:cNvPr>
          <p:cNvSpPr/>
          <p:nvPr/>
        </p:nvSpPr>
        <p:spPr>
          <a:xfrm>
            <a:off x="9347200" y="711063"/>
            <a:ext cx="152400" cy="138545"/>
          </a:xfrm>
          <a:prstGeom prst="rect">
            <a:avLst/>
          </a:prstGeom>
          <a:solidFill>
            <a:schemeClr val="bg1"/>
          </a:solidFill>
          <a:ln w="222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dirty="0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CD38BE56-E32F-FDA7-478F-F81C33B975DC}"/>
              </a:ext>
            </a:extLst>
          </p:cNvPr>
          <p:cNvSpPr/>
          <p:nvPr/>
        </p:nvSpPr>
        <p:spPr>
          <a:xfrm>
            <a:off x="10109200" y="711063"/>
            <a:ext cx="152400" cy="138545"/>
          </a:xfrm>
          <a:prstGeom prst="rect">
            <a:avLst/>
          </a:prstGeom>
          <a:solidFill>
            <a:schemeClr val="bg1"/>
          </a:solidFill>
          <a:ln w="222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dirty="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6B480A91-65E5-3BA9-3134-F56BA7AEE297}"/>
              </a:ext>
            </a:extLst>
          </p:cNvPr>
          <p:cNvSpPr/>
          <p:nvPr/>
        </p:nvSpPr>
        <p:spPr>
          <a:xfrm>
            <a:off x="10879964" y="711063"/>
            <a:ext cx="152400" cy="138545"/>
          </a:xfrm>
          <a:prstGeom prst="rect">
            <a:avLst/>
          </a:prstGeom>
          <a:solidFill>
            <a:schemeClr val="bg1"/>
          </a:solidFill>
          <a:ln w="222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D817210-9AAA-58AE-AE34-3520B740DC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204009" y="4756063"/>
            <a:ext cx="1557268" cy="234950"/>
          </a:xfrm>
          <a:prstGeom prst="homePlate">
            <a:avLst>
              <a:gd name="adj" fmla="val 18243"/>
            </a:avLst>
          </a:prstGeom>
          <a:solidFill>
            <a:schemeClr val="accent1">
              <a:lumMod val="20000"/>
              <a:lumOff val="80000"/>
            </a:schemeClr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080995E-37F3-7E40-7F28-5FA7432EF96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197600" y="4750956"/>
            <a:ext cx="1242140" cy="240057"/>
          </a:xfrm>
          <a:prstGeom prst="homePlate">
            <a:avLst>
              <a:gd name="adj" fmla="val 18243"/>
            </a:avLst>
          </a:prstGeom>
          <a:solidFill>
            <a:srgbClr val="002060"/>
          </a:solidFill>
          <a:ln w="9525" algn="ctr">
            <a:noFill/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da-DK" sz="1000" b="1" i="1" dirty="0">
                <a:solidFill>
                  <a:schemeClr val="bg1"/>
                </a:solidFill>
                <a:latin typeface="Arial"/>
                <a:sym typeface="+mn-lt"/>
              </a:rPr>
              <a:t>75 %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B67F267-8A22-67DB-33A2-BCA780EEADF6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204009" y="5068802"/>
            <a:ext cx="1557268" cy="234950"/>
          </a:xfrm>
          <a:prstGeom prst="homePlate">
            <a:avLst>
              <a:gd name="adj" fmla="val 18243"/>
            </a:avLst>
          </a:prstGeom>
          <a:solidFill>
            <a:srgbClr val="DFE5EF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7567EC4-31C7-3726-D481-70C9F7EC3F1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204009" y="5424402"/>
            <a:ext cx="1557268" cy="234950"/>
          </a:xfrm>
          <a:prstGeom prst="homePlate">
            <a:avLst>
              <a:gd name="adj" fmla="val 18243"/>
            </a:avLst>
          </a:prstGeom>
          <a:solidFill>
            <a:srgbClr val="DFE5EF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0335B12F-66BB-6B5D-A58E-BFA1CEAD5DB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197600" y="5424401"/>
            <a:ext cx="101600" cy="234951"/>
          </a:xfrm>
          <a:prstGeom prst="homePlate">
            <a:avLst>
              <a:gd name="adj" fmla="val 18243"/>
            </a:avLst>
          </a:prstGeom>
          <a:solidFill>
            <a:srgbClr val="002060"/>
          </a:solidFill>
          <a:ln w="9525" algn="ctr">
            <a:noFill/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b="1" i="1" dirty="0">
              <a:solidFill>
                <a:schemeClr val="bg1"/>
              </a:solidFill>
              <a:latin typeface="Arial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8992747-B606-8052-C9A8-D67BDF9973C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197600" y="6074030"/>
            <a:ext cx="1563677" cy="234950"/>
          </a:xfrm>
          <a:prstGeom prst="homePlate">
            <a:avLst>
              <a:gd name="adj" fmla="val 18243"/>
            </a:avLst>
          </a:prstGeom>
          <a:solidFill>
            <a:srgbClr val="DFE5EF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73645A5-3903-82D1-AC37-1983AFC0F3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197600" y="6071755"/>
            <a:ext cx="101600" cy="237224"/>
          </a:xfrm>
          <a:prstGeom prst="homePlate">
            <a:avLst>
              <a:gd name="adj" fmla="val 18243"/>
            </a:avLst>
          </a:prstGeom>
          <a:solidFill>
            <a:srgbClr val="002060"/>
          </a:solidFill>
          <a:ln w="9525" algn="ctr">
            <a:noFill/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b="1" i="1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93E7470-29C6-9D6D-9841-8B7227D6439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08868" y="5739988"/>
            <a:ext cx="1552409" cy="234950"/>
          </a:xfrm>
          <a:prstGeom prst="homePlate">
            <a:avLst>
              <a:gd name="adj" fmla="val 18243"/>
            </a:avLst>
          </a:prstGeom>
          <a:solidFill>
            <a:srgbClr val="DFE5EF"/>
          </a:solidFill>
          <a:ln w="9525" algn="ctr">
            <a:solidFill>
              <a:schemeClr val="tx1"/>
            </a:solidFill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dirty="0">
              <a:solidFill>
                <a:srgbClr val="2C4457"/>
              </a:solidFill>
              <a:latin typeface="Arial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B3C5095-CD26-C780-C97D-C0EAB2666BD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197600" y="5739988"/>
            <a:ext cx="101600" cy="234950"/>
          </a:xfrm>
          <a:prstGeom prst="homePlate">
            <a:avLst>
              <a:gd name="adj" fmla="val 18243"/>
            </a:avLst>
          </a:prstGeom>
          <a:solidFill>
            <a:srgbClr val="002060"/>
          </a:solidFill>
          <a:ln w="9525" algn="ctr">
            <a:noFill/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da-DK" sz="1000" b="1" i="1" dirty="0">
              <a:solidFill>
                <a:schemeClr val="bg1"/>
              </a:solidFill>
              <a:latin typeface="Arial"/>
              <a:sym typeface="+mn-lt"/>
            </a:endParaRPr>
          </a:p>
        </p:txBody>
      </p:sp>
      <p:sp>
        <p:nvSpPr>
          <p:cNvPr id="56" name="Rektangel 55">
            <a:extLst>
              <a:ext uri="{FF2B5EF4-FFF2-40B4-BE49-F238E27FC236}">
                <a16:creationId xmlns:a16="http://schemas.microsoft.com/office/drawing/2014/main" id="{124D1509-ECA0-3B63-816D-6742FC88278E}"/>
              </a:ext>
            </a:extLst>
          </p:cNvPr>
          <p:cNvSpPr/>
          <p:nvPr/>
        </p:nvSpPr>
        <p:spPr>
          <a:xfrm>
            <a:off x="4810292" y="562513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✓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68FCE7D0-0F4B-7655-C976-A1302E922DC2}"/>
              </a:ext>
            </a:extLst>
          </p:cNvPr>
          <p:cNvSpPr/>
          <p:nvPr/>
        </p:nvSpPr>
        <p:spPr>
          <a:xfrm>
            <a:off x="6045201" y="562513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58" name="TextBox 13">
            <a:extLst>
              <a:ext uri="{FF2B5EF4-FFF2-40B4-BE49-F238E27FC236}">
                <a16:creationId xmlns:a16="http://schemas.microsoft.com/office/drawing/2014/main" id="{26DD5786-6CD1-0C5E-4818-CAAA6A6929BC}"/>
              </a:ext>
            </a:extLst>
          </p:cNvPr>
          <p:cNvSpPr txBox="1"/>
          <p:nvPr/>
        </p:nvSpPr>
        <p:spPr>
          <a:xfrm>
            <a:off x="6319364" y="571366"/>
            <a:ext cx="1438154" cy="215957"/>
          </a:xfrm>
          <a:prstGeom prst="rect">
            <a:avLst/>
          </a:prstGeom>
          <a:solidFill>
            <a:schemeClr val="tx2">
              <a:lumMod val="20000"/>
              <a:lumOff val="80000"/>
              <a:alpha val="0"/>
            </a:schemeClr>
          </a:solidFill>
          <a:ln>
            <a:noFill/>
          </a:ln>
        </p:spPr>
        <p:txBody>
          <a:bodyPr wrap="square" lIns="72000" tIns="0" rIns="0" bIns="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enOmBanken  </a:t>
            </a:r>
          </a:p>
        </p:txBody>
      </p:sp>
      <p:sp>
        <p:nvSpPr>
          <p:cNvPr id="5" name="TextBox 13">
            <a:extLst>
              <a:ext uri="{FF2B5EF4-FFF2-40B4-BE49-F238E27FC236}">
                <a16:creationId xmlns:a16="http://schemas.microsoft.com/office/drawing/2014/main" id="{C417A45C-11BD-84F9-BF90-959FC39A9ECC}"/>
              </a:ext>
            </a:extLst>
          </p:cNvPr>
          <p:cNvSpPr txBox="1"/>
          <p:nvPr/>
        </p:nvSpPr>
        <p:spPr>
          <a:xfrm>
            <a:off x="8432800" y="3456141"/>
            <a:ext cx="3596365" cy="12627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pPr lvl="1">
              <a:lnSpc>
                <a:spcPct val="20000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S		  SQL DATABASE  SERVICE BUS    CRM      </a:t>
            </a:r>
          </a:p>
          <a:p>
            <a:pPr lvl="1">
              <a:lnSpc>
                <a:spcPct val="200000"/>
              </a:lnSpc>
            </a:pP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 </a:t>
            </a:r>
          </a:p>
        </p:txBody>
      </p:sp>
      <p:sp>
        <p:nvSpPr>
          <p:cNvPr id="21" name="AutoShape 8">
            <a:extLst>
              <a:ext uri="{FF2B5EF4-FFF2-40B4-BE49-F238E27FC236}">
                <a16:creationId xmlns:a16="http://schemas.microsoft.com/office/drawing/2014/main" id="{6B9DC8D1-1311-F726-94CA-1F2BA3917093}"/>
              </a:ext>
            </a:extLst>
          </p:cNvPr>
          <p:cNvSpPr/>
          <p:nvPr/>
        </p:nvSpPr>
        <p:spPr>
          <a:xfrm>
            <a:off x="8432800" y="3483258"/>
            <a:ext cx="3608758" cy="376630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ER (BACKEND)</a:t>
            </a:r>
            <a:endParaRPr lang="da-DK" sz="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5A347F2F-29E3-3916-D258-39B2775364B7}"/>
              </a:ext>
            </a:extLst>
          </p:cNvPr>
          <p:cNvSpPr/>
          <p:nvPr/>
        </p:nvSpPr>
        <p:spPr>
          <a:xfrm>
            <a:off x="8598019" y="38862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B1C4D30D-003E-8BB7-6D7A-88853B7B5057}"/>
              </a:ext>
            </a:extLst>
          </p:cNvPr>
          <p:cNvSpPr/>
          <p:nvPr/>
        </p:nvSpPr>
        <p:spPr>
          <a:xfrm>
            <a:off x="8598019" y="415925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A7EFBF95-09FD-C6FE-14CD-780C2CDF2A58}"/>
              </a:ext>
            </a:extLst>
          </p:cNvPr>
          <p:cNvSpPr/>
          <p:nvPr/>
        </p:nvSpPr>
        <p:spPr>
          <a:xfrm>
            <a:off x="8598018" y="44450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48B2F461-EFC9-5BDC-8640-FD73F3DF0F9B}"/>
              </a:ext>
            </a:extLst>
          </p:cNvPr>
          <p:cNvSpPr/>
          <p:nvPr/>
        </p:nvSpPr>
        <p:spPr>
          <a:xfrm>
            <a:off x="10172819" y="38862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05918934-FF1B-2256-96E6-064BDA22786B}"/>
              </a:ext>
            </a:extLst>
          </p:cNvPr>
          <p:cNvSpPr/>
          <p:nvPr/>
        </p:nvSpPr>
        <p:spPr>
          <a:xfrm>
            <a:off x="10174949" y="41910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8F0D703E-4B57-F267-3067-4F39738A4B2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197600" y="5063694"/>
            <a:ext cx="1242140" cy="246061"/>
          </a:xfrm>
          <a:prstGeom prst="homePlate">
            <a:avLst>
              <a:gd name="adj" fmla="val 18243"/>
            </a:avLst>
          </a:prstGeom>
          <a:solidFill>
            <a:srgbClr val="002060"/>
          </a:solidFill>
          <a:ln w="9525" algn="ctr">
            <a:noFill/>
          </a:ln>
        </p:spPr>
        <p:txBody>
          <a:bodyPr vert="horz" wrap="none" lIns="90488" tIns="46038" rIns="0" bIns="46038" numCol="1" spcCol="0" rtlCol="0" anchor="ctr" anchorCtr="0">
            <a:noAutofit/>
          </a:bodyPr>
          <a:lstStyle>
            <a:lvl1pPr marL="284400" indent="-2844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0800" indent="-250825" algn="l" defTabSz="914400" rtl="0" eaLnBrk="1" latinLnBrk="0" hangingPunct="1">
              <a:spcBef>
                <a:spcPts val="408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-2520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14446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da-DK" sz="1000" b="1" i="1" dirty="0">
                <a:solidFill>
                  <a:schemeClr val="bg1"/>
                </a:solidFill>
                <a:latin typeface="Arial"/>
                <a:sym typeface="+mn-lt"/>
              </a:rPr>
              <a:t>75 %</a:t>
            </a:r>
          </a:p>
        </p:txBody>
      </p:sp>
      <p:sp>
        <p:nvSpPr>
          <p:cNvPr id="11" name="TextBox 13">
            <a:extLst>
              <a:ext uri="{FF2B5EF4-FFF2-40B4-BE49-F238E27FC236}">
                <a16:creationId xmlns:a16="http://schemas.microsoft.com/office/drawing/2014/main" id="{C43003F4-B738-3E15-CFAF-19003D920CBB}"/>
              </a:ext>
            </a:extLst>
          </p:cNvPr>
          <p:cNvSpPr txBox="1"/>
          <p:nvPr/>
        </p:nvSpPr>
        <p:spPr>
          <a:xfrm>
            <a:off x="5166962" y="2614675"/>
            <a:ext cx="2697160" cy="13152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t">
            <a:spAutoFit/>
          </a:bodyPr>
          <a:lstStyle/>
          <a:p>
            <a:b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sen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net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l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ere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fik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es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arbejdspartnere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leads hos dem. </a:t>
            </a: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1440"/>
              </a:lnSpc>
            </a:pP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664CD22-042C-2EFE-703C-3BFFBC18E4BB}"/>
              </a:ext>
            </a:extLst>
          </p:cNvPr>
          <p:cNvSpPr/>
          <p:nvPr/>
        </p:nvSpPr>
        <p:spPr>
          <a:xfrm>
            <a:off x="360891" y="4705469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✓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E20EC75F-04E9-8BD6-4C2D-BA3F242A4F14}"/>
              </a:ext>
            </a:extLst>
          </p:cNvPr>
          <p:cNvSpPr/>
          <p:nvPr/>
        </p:nvSpPr>
        <p:spPr>
          <a:xfrm>
            <a:off x="360891" y="502285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✓</a:t>
            </a:r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E8C38763-D12E-C6D8-0114-BEB6E924B6F0}"/>
              </a:ext>
            </a:extLst>
          </p:cNvPr>
          <p:cNvSpPr/>
          <p:nvPr/>
        </p:nvSpPr>
        <p:spPr>
          <a:xfrm>
            <a:off x="360891" y="53594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FC126EB6-8B55-0217-AA9E-8E57D8C335BD}"/>
              </a:ext>
            </a:extLst>
          </p:cNvPr>
          <p:cNvSpPr/>
          <p:nvPr/>
        </p:nvSpPr>
        <p:spPr>
          <a:xfrm>
            <a:off x="3002491" y="4718146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23C03DC5-E7A2-B5F7-7CB6-7DA8C527BE69}"/>
              </a:ext>
            </a:extLst>
          </p:cNvPr>
          <p:cNvSpPr/>
          <p:nvPr/>
        </p:nvSpPr>
        <p:spPr>
          <a:xfrm>
            <a:off x="3002491" y="50546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1C69881D-04B3-F21A-B6E8-94A98C8C113E}"/>
              </a:ext>
            </a:extLst>
          </p:cNvPr>
          <p:cNvSpPr/>
          <p:nvPr/>
        </p:nvSpPr>
        <p:spPr>
          <a:xfrm>
            <a:off x="3002491" y="53594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DB7FC7E-F4A6-05BC-7475-64B510DBFB71}"/>
              </a:ext>
            </a:extLst>
          </p:cNvPr>
          <p:cNvSpPr/>
          <p:nvPr/>
        </p:nvSpPr>
        <p:spPr>
          <a:xfrm>
            <a:off x="254001" y="62230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337C6684-2E50-365E-C48A-8AD57CAA274C}"/>
              </a:ext>
            </a:extLst>
          </p:cNvPr>
          <p:cNvSpPr/>
          <p:nvPr/>
        </p:nvSpPr>
        <p:spPr>
          <a:xfrm>
            <a:off x="1219201" y="62230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1"/>
              </a:solidFill>
            </a:endParaRPr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51639434-D938-2174-ED1C-F62EE10FC868}"/>
              </a:ext>
            </a:extLst>
          </p:cNvPr>
          <p:cNvSpPr/>
          <p:nvPr/>
        </p:nvSpPr>
        <p:spPr>
          <a:xfrm>
            <a:off x="2046949" y="6223000"/>
            <a:ext cx="188251" cy="234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pc="205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✓</a:t>
            </a:r>
            <a:endParaRPr lang="da-DK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3E0AE597-3FF9-7FFD-9CC2-9DF911D79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1004530"/>
              </p:ext>
            </p:extLst>
          </p:nvPr>
        </p:nvGraphicFramePr>
        <p:xfrm>
          <a:off x="6502400" y="1295400"/>
          <a:ext cx="1308780" cy="24384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61756">
                  <a:extLst>
                    <a:ext uri="{9D8B030D-6E8A-4147-A177-3AD203B41FA5}">
                      <a16:colId xmlns:a16="http://schemas.microsoft.com/office/drawing/2014/main" val="2339630105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422518826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924974039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38713832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462265987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endParaRPr lang="da-DK" sz="1200" b="1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4</a:t>
                      </a:r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340112"/>
                  </a:ext>
                </a:extLst>
              </a:tr>
            </a:tbl>
          </a:graphicData>
        </a:graphic>
      </p:graphicFrame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AE160F98-032C-B368-BF2B-2BA65AB33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6072587"/>
              </p:ext>
            </p:extLst>
          </p:nvPr>
        </p:nvGraphicFramePr>
        <p:xfrm>
          <a:off x="6502400" y="1600200"/>
          <a:ext cx="130878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756">
                  <a:extLst>
                    <a:ext uri="{9D8B030D-6E8A-4147-A177-3AD203B41FA5}">
                      <a16:colId xmlns:a16="http://schemas.microsoft.com/office/drawing/2014/main" val="2339630105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422518826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924974039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38713832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462265987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4</a:t>
                      </a:r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340112"/>
                  </a:ext>
                </a:extLst>
              </a:tr>
            </a:tbl>
          </a:graphicData>
        </a:graphic>
      </p:graphicFrame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241E566E-312F-BD39-C5E8-EA4FEDBEAB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949281"/>
              </p:ext>
            </p:extLst>
          </p:nvPr>
        </p:nvGraphicFramePr>
        <p:xfrm>
          <a:off x="6502400" y="1905000"/>
          <a:ext cx="130878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756">
                  <a:extLst>
                    <a:ext uri="{9D8B030D-6E8A-4147-A177-3AD203B41FA5}">
                      <a16:colId xmlns:a16="http://schemas.microsoft.com/office/drawing/2014/main" val="2339630105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422518826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924974039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38713832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462265987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200" dirty="0"/>
                        <a:t>3</a:t>
                      </a:r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340112"/>
                  </a:ext>
                </a:extLst>
              </a:tr>
            </a:tbl>
          </a:graphicData>
        </a:graphic>
      </p:graphicFrame>
      <p:graphicFrame>
        <p:nvGraphicFramePr>
          <p:cNvPr id="40" name="Tabel 39">
            <a:extLst>
              <a:ext uri="{FF2B5EF4-FFF2-40B4-BE49-F238E27FC236}">
                <a16:creationId xmlns:a16="http://schemas.microsoft.com/office/drawing/2014/main" id="{CFC50557-FB61-00D5-EBB5-66D082B4AD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4151335"/>
              </p:ext>
            </p:extLst>
          </p:nvPr>
        </p:nvGraphicFramePr>
        <p:xfrm>
          <a:off x="6502400" y="2219960"/>
          <a:ext cx="130878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756">
                  <a:extLst>
                    <a:ext uri="{9D8B030D-6E8A-4147-A177-3AD203B41FA5}">
                      <a16:colId xmlns:a16="http://schemas.microsoft.com/office/drawing/2014/main" val="2339630105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422518826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924974039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387138327"/>
                    </a:ext>
                  </a:extLst>
                </a:gridCol>
                <a:gridCol w="261756">
                  <a:extLst>
                    <a:ext uri="{9D8B030D-6E8A-4147-A177-3AD203B41FA5}">
                      <a16:colId xmlns:a16="http://schemas.microsoft.com/office/drawing/2014/main" val="1462265987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r>
                        <a:rPr lang="da-DK" sz="1200" dirty="0"/>
                        <a:t>1</a:t>
                      </a:r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200" dirty="0"/>
                    </a:p>
                  </a:txBody>
                  <a:tcPr marL="60960" marR="60960" marT="30480" marB="3048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5340112"/>
                  </a:ext>
                </a:extLst>
              </a:tr>
            </a:tbl>
          </a:graphicData>
        </a:graphic>
      </p:graphicFrame>
      <p:sp>
        <p:nvSpPr>
          <p:cNvPr id="67" name="AutoShape 8">
            <a:extLst>
              <a:ext uri="{FF2B5EF4-FFF2-40B4-BE49-F238E27FC236}">
                <a16:creationId xmlns:a16="http://schemas.microsoft.com/office/drawing/2014/main" id="{7A2553FE-C1AD-9C30-C807-D76ADDFC5EE6}"/>
              </a:ext>
            </a:extLst>
          </p:cNvPr>
          <p:cNvSpPr/>
          <p:nvPr/>
        </p:nvSpPr>
        <p:spPr>
          <a:xfrm>
            <a:off x="5141195" y="939800"/>
            <a:ext cx="2783604" cy="327792"/>
          </a:xfrm>
          <a:prstGeom prst="rect">
            <a:avLst/>
          </a:prstGeom>
          <a:solidFill>
            <a:schemeClr val="tx2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lIns="72000" anchor="ctr"/>
          <a:lstStyle/>
          <a:p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ETNINGSVÆRDI (</a:t>
            </a:r>
            <a:r>
              <a:rPr lang="da-DK" sz="10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sz="10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da-DK" sz="10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)</a:t>
            </a:r>
          </a:p>
        </p:txBody>
      </p:sp>
      <p:sp>
        <p:nvSpPr>
          <p:cNvPr id="42" name="TextBox 13">
            <a:extLst>
              <a:ext uri="{FF2B5EF4-FFF2-40B4-BE49-F238E27FC236}">
                <a16:creationId xmlns:a16="http://schemas.microsoft.com/office/drawing/2014/main" id="{B5C0778D-2CBF-98E6-3232-3EA202C452E1}"/>
              </a:ext>
            </a:extLst>
          </p:cNvPr>
          <p:cNvSpPr txBox="1"/>
          <p:nvPr/>
        </p:nvSpPr>
        <p:spPr>
          <a:xfrm>
            <a:off x="2946400" y="6215525"/>
            <a:ext cx="2052143" cy="34535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lIns="72000" tIns="0" rIns="0" bIns="0" rtlCol="0" anchor="ctr">
            <a:spAutoFit/>
          </a:bodyPr>
          <a:lstStyle/>
          <a:p>
            <a:pPr>
              <a:lnSpc>
                <a:spcPts val="1440"/>
              </a:lnSpc>
            </a:pP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arbejde</a:t>
            </a:r>
            <a:r>
              <a:rPr lang="en-US" sz="1067" spc="20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d </a:t>
            </a:r>
            <a:r>
              <a:rPr lang="en-US" sz="1067" spc="205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sterne</a:t>
            </a:r>
            <a:endParaRPr lang="en-US" sz="1067" spc="20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24960C49-D501-C4EE-3185-8D2FA637F73C}"/>
              </a:ext>
            </a:extLst>
          </p:cNvPr>
          <p:cNvCxnSpPr>
            <a:cxnSpLocks/>
          </p:cNvCxnSpPr>
          <p:nvPr/>
        </p:nvCxnSpPr>
        <p:spPr>
          <a:xfrm>
            <a:off x="152400" y="6781800"/>
            <a:ext cx="7776000" cy="0"/>
          </a:xfrm>
          <a:prstGeom prst="line">
            <a:avLst/>
          </a:prstGeom>
          <a:ln cap="flat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kstfelt 42">
            <a:extLst>
              <a:ext uri="{FF2B5EF4-FFF2-40B4-BE49-F238E27FC236}">
                <a16:creationId xmlns:a16="http://schemas.microsoft.com/office/drawing/2014/main" id="{65393A30-E64E-E682-A4C0-A2E6A62DA000}"/>
              </a:ext>
            </a:extLst>
          </p:cNvPr>
          <p:cNvSpPr txBox="1"/>
          <p:nvPr/>
        </p:nvSpPr>
        <p:spPr>
          <a:xfrm>
            <a:off x="3400977" y="6648450"/>
            <a:ext cx="1526623" cy="28575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noAutofit/>
          </a:bodyPr>
          <a:lstStyle>
            <a:defPPr>
              <a:defRPr lang="nb-NO"/>
            </a:defPPr>
            <a:lvl1pPr indent="-457200">
              <a:spcBef>
                <a:spcPct val="20000"/>
              </a:spcBef>
              <a:buSzPct val="100000"/>
              <a:defRPr sz="2000">
                <a:latin typeface="Arial" panose="020B0604020202020204" pitchFamily="34" charset="0"/>
              </a:defRPr>
            </a:lvl1pPr>
            <a:lvl2pPr marL="284400" lvl="1" indent="-2844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2pPr>
            <a:lvl3pPr marL="550800" lvl="2" indent="-250825">
              <a:spcBef>
                <a:spcPts val="408"/>
              </a:spcBef>
              <a:buSzPct val="100000"/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</a:defRPr>
            </a:lvl3pPr>
            <a:lvl4pPr marL="802800" lvl="3" indent="-2520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4pPr>
            <a:lvl5pPr marL="802800" lvl="4" indent="-2520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5pPr>
          </a:lstStyle>
          <a:p>
            <a:pPr marL="0" lvl="1" indent="0" algn="ctr" defTabSz="914446">
              <a:buNone/>
              <a:defRPr/>
            </a:pPr>
            <a:r>
              <a:rPr lang="da-DK" sz="933" b="1" i="1" dirty="0">
                <a:solidFill>
                  <a:srgbClr val="002060"/>
                </a:solidFill>
                <a:sym typeface="Arial" panose="020B0604020202020204" pitchFamily="34" charset="0"/>
              </a:rPr>
              <a:t> Udfyldes af PO</a:t>
            </a:r>
          </a:p>
        </p:txBody>
      </p:sp>
      <p:cxnSp>
        <p:nvCxnSpPr>
          <p:cNvPr id="59" name="Lige forbindelse 58">
            <a:extLst>
              <a:ext uri="{FF2B5EF4-FFF2-40B4-BE49-F238E27FC236}">
                <a16:creationId xmlns:a16="http://schemas.microsoft.com/office/drawing/2014/main" id="{E3AF2D5E-0B77-726C-2B37-542EE18D9F25}"/>
              </a:ext>
            </a:extLst>
          </p:cNvPr>
          <p:cNvCxnSpPr>
            <a:cxnSpLocks/>
          </p:cNvCxnSpPr>
          <p:nvPr/>
        </p:nvCxnSpPr>
        <p:spPr>
          <a:xfrm>
            <a:off x="8431224" y="6781800"/>
            <a:ext cx="3611976" cy="0"/>
          </a:xfrm>
          <a:prstGeom prst="line">
            <a:avLst/>
          </a:prstGeom>
          <a:ln cap="flat"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kstfelt 45">
            <a:extLst>
              <a:ext uri="{FF2B5EF4-FFF2-40B4-BE49-F238E27FC236}">
                <a16:creationId xmlns:a16="http://schemas.microsoft.com/office/drawing/2014/main" id="{C68BFF10-1C73-60CD-A5B3-791D2A9D1BE4}"/>
              </a:ext>
            </a:extLst>
          </p:cNvPr>
          <p:cNvSpPr txBox="1"/>
          <p:nvPr/>
        </p:nvSpPr>
        <p:spPr>
          <a:xfrm>
            <a:off x="9753600" y="6674053"/>
            <a:ext cx="1526623" cy="28575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noAutofit/>
          </a:bodyPr>
          <a:lstStyle>
            <a:defPPr>
              <a:defRPr lang="nb-NO"/>
            </a:defPPr>
            <a:lvl1pPr indent="-457200">
              <a:spcBef>
                <a:spcPct val="20000"/>
              </a:spcBef>
              <a:buSzPct val="100000"/>
              <a:defRPr sz="2000">
                <a:latin typeface="Arial" panose="020B0604020202020204" pitchFamily="34" charset="0"/>
              </a:defRPr>
            </a:lvl1pPr>
            <a:lvl2pPr marL="284400" lvl="1" indent="-2844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2pPr>
            <a:lvl3pPr marL="550800" lvl="2" indent="-250825">
              <a:spcBef>
                <a:spcPts val="408"/>
              </a:spcBef>
              <a:buSzPct val="100000"/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</a:defRPr>
            </a:lvl3pPr>
            <a:lvl4pPr marL="802800" lvl="3" indent="-2520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4pPr>
            <a:lvl5pPr marL="802800" lvl="4" indent="-2520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</a:defRPr>
            </a:lvl5pPr>
          </a:lstStyle>
          <a:p>
            <a:pPr marL="0" lvl="1" indent="0" algn="ctr" defTabSz="914446">
              <a:buNone/>
              <a:defRPr/>
            </a:pPr>
            <a:r>
              <a:rPr lang="da-DK" sz="933" b="1" i="1" dirty="0">
                <a:solidFill>
                  <a:srgbClr val="002060"/>
                </a:solidFill>
                <a:sym typeface="Arial" panose="020B0604020202020204" pitchFamily="34" charset="0"/>
              </a:rPr>
              <a:t> Udfyldes af PL</a:t>
            </a:r>
          </a:p>
        </p:txBody>
      </p: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B84F76B3-AC55-0A21-1E22-5BA248179A2C}"/>
              </a:ext>
            </a:extLst>
          </p:cNvPr>
          <p:cNvGrpSpPr/>
          <p:nvPr/>
        </p:nvGrpSpPr>
        <p:grpSpPr>
          <a:xfrm>
            <a:off x="7975600" y="3033000"/>
            <a:ext cx="396000" cy="396000"/>
            <a:chOff x="8172747" y="3494231"/>
            <a:chExt cx="594000" cy="594000"/>
          </a:xfrm>
          <a:solidFill>
            <a:schemeClr val="accent1"/>
          </a:solidFill>
        </p:grpSpPr>
        <p:sp>
          <p:nvSpPr>
            <p:cNvPr id="51" name="Tekstfelt 50">
              <a:extLst>
                <a:ext uri="{FF2B5EF4-FFF2-40B4-BE49-F238E27FC236}">
                  <a16:creationId xmlns:a16="http://schemas.microsoft.com/office/drawing/2014/main" id="{A84573DA-45FB-2A2B-F620-9302F3D791BF}"/>
                </a:ext>
              </a:extLst>
            </p:cNvPr>
            <p:cNvSpPr txBox="1"/>
            <p:nvPr/>
          </p:nvSpPr>
          <p:spPr>
            <a:xfrm>
              <a:off x="8172747" y="3494231"/>
              <a:ext cx="594000" cy="59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Arial" panose="020B0604020202020204" pitchFamily="34" charset="0"/>
                </a:defRPr>
              </a:lvl1pPr>
              <a:lvl2pPr marL="342900" lvl="1" indent="-3429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</a:defRPr>
              </a:lvl2pPr>
              <a:lvl3pPr marL="685783" lvl="2" indent="-228594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</a:defRPr>
              </a:lvl3pPr>
              <a:lvl4pPr marL="1142971" lvl="3" indent="-228594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</a:defRPr>
              </a:lvl4pPr>
              <a:lvl5pPr marL="1600160" lvl="4" indent="-228594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Arial" panose="020B060402020202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 defTabSz="609630">
                <a:spcBef>
                  <a:spcPts val="667"/>
                </a:spcBef>
                <a:buNone/>
                <a:defRPr/>
              </a:pPr>
              <a:endParaRPr lang="da-DK" sz="933" kern="0">
                <a:solidFill>
                  <a:srgbClr val="FFFFFF"/>
                </a:solidFill>
                <a:sym typeface="Arial" panose="020B0604020202020204" pitchFamily="34" charset="0"/>
              </a:endParaRPr>
            </a:p>
          </p:txBody>
        </p:sp>
        <p:grpSp>
          <p:nvGrpSpPr>
            <p:cNvPr id="52" name="Gruppe 51">
              <a:extLst>
                <a:ext uri="{FF2B5EF4-FFF2-40B4-BE49-F238E27FC236}">
                  <a16:creationId xmlns:a16="http://schemas.microsoft.com/office/drawing/2014/main" id="{09F204A0-1BD7-9390-83B1-AFEF9FA3EAFB}"/>
                </a:ext>
              </a:extLst>
            </p:cNvPr>
            <p:cNvGrpSpPr/>
            <p:nvPr/>
          </p:nvGrpSpPr>
          <p:grpSpPr>
            <a:xfrm>
              <a:off x="8265581" y="3664542"/>
              <a:ext cx="408331" cy="253378"/>
              <a:chOff x="8766747" y="3763812"/>
              <a:chExt cx="408331" cy="253378"/>
            </a:xfrm>
            <a:grpFill/>
          </p:grpSpPr>
          <p:sp>
            <p:nvSpPr>
              <p:cNvPr id="53" name="Pil: vinkel 23">
                <a:extLst>
                  <a:ext uri="{FF2B5EF4-FFF2-40B4-BE49-F238E27FC236}">
                    <a16:creationId xmlns:a16="http://schemas.microsoft.com/office/drawing/2014/main" id="{057732D5-D2BF-9937-AC22-F0F468CB99E2}"/>
                  </a:ext>
                </a:extLst>
              </p:cNvPr>
              <p:cNvSpPr/>
              <p:nvPr/>
            </p:nvSpPr>
            <p:spPr>
              <a:xfrm>
                <a:off x="8766747" y="3791231"/>
                <a:ext cx="213480" cy="198541"/>
              </a:xfrm>
              <a:prstGeom prst="chevron">
                <a:avLst>
                  <a:gd name="adj" fmla="val 40834"/>
                </a:avLst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da-DK" sz="933" kern="0">
                  <a:solidFill>
                    <a:srgbClr val="0D2E4D"/>
                  </a:solidFill>
                  <a:latin typeface="Arial"/>
                </a:endParaRPr>
              </a:p>
            </p:txBody>
          </p:sp>
          <p:sp>
            <p:nvSpPr>
              <p:cNvPr id="54" name="Pil: vinkel 24">
                <a:extLst>
                  <a:ext uri="{FF2B5EF4-FFF2-40B4-BE49-F238E27FC236}">
                    <a16:creationId xmlns:a16="http://schemas.microsoft.com/office/drawing/2014/main" id="{4F98119A-CDF6-5B22-4C5A-2EC74288B394}"/>
                  </a:ext>
                </a:extLst>
              </p:cNvPr>
              <p:cNvSpPr/>
              <p:nvPr/>
            </p:nvSpPr>
            <p:spPr>
              <a:xfrm>
                <a:off x="8902635" y="3763812"/>
                <a:ext cx="272443" cy="253378"/>
              </a:xfrm>
              <a:prstGeom prst="chevron">
                <a:avLst>
                  <a:gd name="adj" fmla="val 40834"/>
                </a:avLst>
              </a:prstGeom>
              <a:solidFill>
                <a:srgbClr val="002060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da-DK" sz="933" kern="0">
                  <a:solidFill>
                    <a:srgbClr val="0D2E4D"/>
                  </a:solidFill>
                  <a:latin typeface="Arial"/>
                </a:endParaRPr>
              </a:p>
            </p:txBody>
          </p:sp>
        </p:grpSp>
      </p:grpSp>
      <p:sp>
        <p:nvSpPr>
          <p:cNvPr id="55" name="Ellipse 54">
            <a:extLst>
              <a:ext uri="{FF2B5EF4-FFF2-40B4-BE49-F238E27FC236}">
                <a16:creationId xmlns:a16="http://schemas.microsoft.com/office/drawing/2014/main" id="{04628D83-0CC3-AAC8-A302-33D51240CC5D}"/>
              </a:ext>
            </a:extLst>
          </p:cNvPr>
          <p:cNvSpPr>
            <a:spLocks noChangeAspect="1"/>
          </p:cNvSpPr>
          <p:nvPr/>
        </p:nvSpPr>
        <p:spPr>
          <a:xfrm>
            <a:off x="304800" y="113483"/>
            <a:ext cx="528000" cy="528000"/>
          </a:xfrm>
          <a:prstGeom prst="ellipse">
            <a:avLst/>
          </a:prstGeom>
          <a:solidFill>
            <a:schemeClr val="tx2"/>
          </a:solidFill>
          <a:ln w="15875">
            <a:solidFill>
              <a:schemeClr val="bg1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33" b="1" dirty="0"/>
          </a:p>
        </p:txBody>
      </p:sp>
      <p:pic>
        <p:nvPicPr>
          <p:cNvPr id="64" name="Billede 63">
            <a:extLst>
              <a:ext uri="{FF2B5EF4-FFF2-40B4-BE49-F238E27FC236}">
                <a16:creationId xmlns:a16="http://schemas.microsoft.com/office/drawing/2014/main" id="{9071FB76-1915-A653-1A7C-8F99D84D9B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185" y="245559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713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7538C916-097A-6731-230B-7DBF3EA018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18" r="50000" b="17227"/>
          <a:stretch/>
        </p:blipFill>
        <p:spPr>
          <a:xfrm>
            <a:off x="1440000" y="1080000"/>
            <a:ext cx="9463852" cy="4791075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D7C50B33-93EC-A88F-F4D3-029D3C1B4522}"/>
              </a:ext>
            </a:extLst>
          </p:cNvPr>
          <p:cNvSpPr txBox="1"/>
          <p:nvPr/>
        </p:nvSpPr>
        <p:spPr>
          <a:xfrm>
            <a:off x="3428726" y="4013001"/>
            <a:ext cx="548640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dirty="0"/>
              <a:t>Spar på energien ved at forbedre din bolig</a:t>
            </a:r>
            <a:br>
              <a:rPr lang="da-DK" dirty="0"/>
            </a:br>
            <a:r>
              <a:rPr lang="da-DK" sz="1200" dirty="0"/>
              <a:t>Høje energipriser, spar på energien, energiforbedringer, tredobbelt bundlinje (miljøet, spare, husværdistigning),   </a:t>
            </a:r>
          </a:p>
          <a:p>
            <a:endParaRPr lang="da-DK" sz="1200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C7D24BA5-CBDD-C279-E0D3-331AAE045ED8}"/>
              </a:ext>
            </a:extLst>
          </p:cNvPr>
          <p:cNvSpPr txBox="1"/>
          <p:nvPr/>
        </p:nvSpPr>
        <p:spPr>
          <a:xfrm>
            <a:off x="7293708" y="5120997"/>
            <a:ext cx="201010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a-DK" dirty="0">
                <a:solidFill>
                  <a:srgbClr val="0070C0"/>
                </a:solidFill>
              </a:rPr>
              <a:t>Indtast din adress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E9476ACF-F4F3-3D37-36A0-C39A8453A2EA}"/>
              </a:ext>
            </a:extLst>
          </p:cNvPr>
          <p:cNvSpPr txBox="1"/>
          <p:nvPr/>
        </p:nvSpPr>
        <p:spPr>
          <a:xfrm>
            <a:off x="9624301" y="4219201"/>
            <a:ext cx="294778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i="1" dirty="0">
                <a:solidFill>
                  <a:srgbClr val="FF0000"/>
                </a:solidFill>
              </a:rPr>
              <a:t>Ved at gøre dette, så får du cirka samme information som fx her: </a:t>
            </a:r>
            <a:r>
              <a:rPr lang="da-DK" sz="1200" i="1" dirty="0">
                <a:solidFill>
                  <a:srgbClr val="FF0000"/>
                </a:solidFill>
                <a:hlinkClick r:id="rId3"/>
              </a:rPr>
              <a:t>https://www.dingeo.dk/adresse/2820-gentofte/herredsvej-36/#energimaerke</a:t>
            </a:r>
            <a:endParaRPr lang="da-DK" sz="1200" i="1" dirty="0">
              <a:solidFill>
                <a:srgbClr val="FF0000"/>
              </a:solidFill>
            </a:endParaRPr>
          </a:p>
          <a:p>
            <a:r>
              <a:rPr lang="da-DK" sz="1200" i="1" dirty="0">
                <a:solidFill>
                  <a:srgbClr val="FF0000"/>
                </a:solidFill>
              </a:rPr>
              <a:t>Kombineret med </a:t>
            </a:r>
            <a:r>
              <a:rPr lang="da-DK" sz="1200" i="1" dirty="0" err="1">
                <a:solidFill>
                  <a:srgbClr val="FF0000"/>
                </a:solidFill>
              </a:rPr>
              <a:t>EHDs</a:t>
            </a:r>
            <a:r>
              <a:rPr lang="da-DK" sz="1200" i="1" dirty="0">
                <a:solidFill>
                  <a:srgbClr val="FF0000"/>
                </a:solidFill>
              </a:rPr>
              <a:t> energispareplan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5D208D65-C6D0-B089-293F-795599241B10}"/>
              </a:ext>
            </a:extLst>
          </p:cNvPr>
          <p:cNvCxnSpPr>
            <a:cxnSpLocks/>
            <a:stCxn id="8" idx="1"/>
            <a:endCxn id="6" idx="0"/>
          </p:cNvCxnSpPr>
          <p:nvPr/>
        </p:nvCxnSpPr>
        <p:spPr>
          <a:xfrm flipH="1">
            <a:off x="8298759" y="4727033"/>
            <a:ext cx="1325542" cy="3939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felt 11">
            <a:extLst>
              <a:ext uri="{FF2B5EF4-FFF2-40B4-BE49-F238E27FC236}">
                <a16:creationId xmlns:a16="http://schemas.microsoft.com/office/drawing/2014/main" id="{576DD03A-2180-6849-675E-DB436DFA97B8}"/>
              </a:ext>
            </a:extLst>
          </p:cNvPr>
          <p:cNvSpPr txBox="1"/>
          <p:nvPr/>
        </p:nvSpPr>
        <p:spPr>
          <a:xfrm>
            <a:off x="414953" y="4080701"/>
            <a:ext cx="24072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i="1" dirty="0">
                <a:solidFill>
                  <a:srgbClr val="FF0000"/>
                </a:solidFill>
              </a:rPr>
              <a:t>Indledende tekst kan inspireres af:</a:t>
            </a:r>
          </a:p>
          <a:p>
            <a:r>
              <a:rPr lang="da-DK" sz="1200" i="1" dirty="0">
                <a:solidFill>
                  <a:srgbClr val="FF0000"/>
                </a:solidFill>
                <a:hlinkClick r:id="rId4"/>
              </a:rPr>
              <a:t>https://www.dingeo.dk/data/energimaerke/</a:t>
            </a:r>
            <a:endParaRPr lang="da-DK" sz="1200" i="1" dirty="0">
              <a:solidFill>
                <a:srgbClr val="FF0000"/>
              </a:solidFill>
            </a:endParaRPr>
          </a:p>
          <a:p>
            <a:endParaRPr lang="da-DK" sz="1200" i="1" dirty="0">
              <a:solidFill>
                <a:srgbClr val="FF0000"/>
              </a:solidFill>
            </a:endParaRPr>
          </a:p>
        </p:txBody>
      </p:sp>
      <p:cxnSp>
        <p:nvCxnSpPr>
          <p:cNvPr id="14" name="Lige pilforbindelse 13">
            <a:extLst>
              <a:ext uri="{FF2B5EF4-FFF2-40B4-BE49-F238E27FC236}">
                <a16:creationId xmlns:a16="http://schemas.microsoft.com/office/drawing/2014/main" id="{C28B2557-F316-8F31-200F-320CBE9C6BB1}"/>
              </a:ext>
            </a:extLst>
          </p:cNvPr>
          <p:cNvCxnSpPr>
            <a:cxnSpLocks/>
          </p:cNvCxnSpPr>
          <p:nvPr/>
        </p:nvCxnSpPr>
        <p:spPr>
          <a:xfrm>
            <a:off x="2818614" y="4392891"/>
            <a:ext cx="610112" cy="109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kstfelt 1">
            <a:extLst>
              <a:ext uri="{FF2B5EF4-FFF2-40B4-BE49-F238E27FC236}">
                <a16:creationId xmlns:a16="http://schemas.microsoft.com/office/drawing/2014/main" id="{6101B692-37D9-9B72-A1B2-35A47ABA4F3A}"/>
              </a:ext>
            </a:extLst>
          </p:cNvPr>
          <p:cNvSpPr txBox="1"/>
          <p:nvPr/>
        </p:nvSpPr>
        <p:spPr>
          <a:xfrm>
            <a:off x="236375" y="1436383"/>
            <a:ext cx="2407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i="1" dirty="0">
                <a:solidFill>
                  <a:srgbClr val="FF0000"/>
                </a:solidFill>
              </a:rPr>
              <a:t>Vigtigt med annoncer, fra vores samarbejdspartnere</a:t>
            </a:r>
          </a:p>
          <a:p>
            <a:endParaRPr lang="da-DK" sz="1200" i="1" dirty="0">
              <a:solidFill>
                <a:srgbClr val="FF0000"/>
              </a:solidFill>
            </a:endParaRPr>
          </a:p>
        </p:txBody>
      </p:sp>
      <p:pic>
        <p:nvPicPr>
          <p:cNvPr id="1032" name="Picture 8" descr="velux logo and slogan">
            <a:extLst>
              <a:ext uri="{FF2B5EF4-FFF2-40B4-BE49-F238E27FC236}">
                <a16:creationId xmlns:a16="http://schemas.microsoft.com/office/drawing/2014/main" id="{B326FB38-5394-C870-5183-D70BD8652C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625" y="1357251"/>
            <a:ext cx="7052466" cy="2375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13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2E415EF3-B8F0-B0B0-E2B3-BCDCC155B9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000" t="17227"/>
          <a:stretch/>
        </p:blipFill>
        <p:spPr>
          <a:xfrm>
            <a:off x="1440000" y="1080000"/>
            <a:ext cx="8490884" cy="4791600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4EFDF338-A92B-CBD7-959B-09BF99EC3CE8}"/>
              </a:ext>
            </a:extLst>
          </p:cNvPr>
          <p:cNvSpPr txBox="1"/>
          <p:nvPr/>
        </p:nvSpPr>
        <p:spPr>
          <a:xfrm>
            <a:off x="5685442" y="2464067"/>
            <a:ext cx="2826962" cy="16619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dirty="0"/>
              <a:t>Få et gratis hustjek</a:t>
            </a:r>
          </a:p>
          <a:p>
            <a:r>
              <a:rPr lang="da-DK" sz="1200" dirty="0"/>
              <a:t>Gennemgang af isolering</a:t>
            </a:r>
            <a:br>
              <a:rPr lang="da-DK" sz="1200" dirty="0"/>
            </a:br>
            <a:r>
              <a:rPr lang="da-DK" sz="1200" dirty="0"/>
              <a:t>Tagisolering</a:t>
            </a:r>
            <a:br>
              <a:rPr lang="da-DK" sz="1200" dirty="0"/>
            </a:br>
            <a:r>
              <a:rPr lang="da-DK" sz="1200" dirty="0"/>
              <a:t>Varmekilde</a:t>
            </a:r>
            <a:br>
              <a:rPr lang="da-DK" sz="1200" dirty="0"/>
            </a:br>
            <a:r>
              <a:rPr lang="da-DK" sz="1200" dirty="0"/>
              <a:t>Vinduer og døre</a:t>
            </a:r>
            <a:br>
              <a:rPr lang="da-DK" sz="1200" dirty="0"/>
            </a:br>
            <a:r>
              <a:rPr lang="da-DK" sz="1200" dirty="0"/>
              <a:t>Hulmursisolering</a:t>
            </a:r>
            <a:br>
              <a:rPr lang="da-DK" sz="1200" dirty="0"/>
            </a:br>
            <a:r>
              <a:rPr lang="da-DK" sz="1200" dirty="0"/>
              <a:t>Solcelletjek</a:t>
            </a:r>
            <a:br>
              <a:rPr lang="da-DK" sz="1200" dirty="0"/>
            </a:br>
            <a:r>
              <a:rPr lang="da-DK" sz="1200" dirty="0"/>
              <a:t>(vi kan trække adressen med over)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B74A1F81-37D7-69FA-2B6F-F2345B890B4D}"/>
              </a:ext>
            </a:extLst>
          </p:cNvPr>
          <p:cNvSpPr txBox="1"/>
          <p:nvPr/>
        </p:nvSpPr>
        <p:spPr>
          <a:xfrm>
            <a:off x="3189610" y="4639735"/>
            <a:ext cx="2495832" cy="110799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a-DK" dirty="0"/>
              <a:t>Varmepumpe</a:t>
            </a:r>
            <a:br>
              <a:rPr lang="da-DK" dirty="0"/>
            </a:br>
            <a:r>
              <a:rPr lang="da-DK" sz="1200" dirty="0"/>
              <a:t>Billig, miljøvenlig, finansiering. </a:t>
            </a:r>
            <a:br>
              <a:rPr lang="da-DK" sz="1200" dirty="0"/>
            </a:br>
            <a:r>
              <a:rPr lang="da-DK" sz="1200" dirty="0"/>
              <a:t>Få udregnet prisen på en varmepumpe hos dig her. (vi kan trække adressen med over)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43E889F-D5C4-CF7B-6400-233BCC5CC2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674" y="2081169"/>
            <a:ext cx="4101768" cy="2050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Background Image">
            <a:extLst>
              <a:ext uri="{FF2B5EF4-FFF2-40B4-BE49-F238E27FC236}">
                <a16:creationId xmlns:a16="http://schemas.microsoft.com/office/drawing/2014/main" id="{76F2412D-CE46-4223-592B-9C29115CDD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79"/>
          <a:stretch/>
        </p:blipFill>
        <p:spPr bwMode="auto">
          <a:xfrm>
            <a:off x="5772406" y="4247655"/>
            <a:ext cx="3485072" cy="1317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60102352-4B8F-F12C-06B2-326F231DA357}"/>
              </a:ext>
            </a:extLst>
          </p:cNvPr>
          <p:cNvSpPr txBox="1"/>
          <p:nvPr/>
        </p:nvSpPr>
        <p:spPr>
          <a:xfrm>
            <a:off x="8142277" y="3244334"/>
            <a:ext cx="60945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i="1" dirty="0">
                <a:solidFill>
                  <a:srgbClr val="FF0000"/>
                </a:solidFill>
              </a:rPr>
              <a:t>Begge annoncører er allerede på dingeo.dk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6AE3460A-4D0C-6662-9312-5CCB4A3657EE}"/>
              </a:ext>
            </a:extLst>
          </p:cNvPr>
          <p:cNvSpPr txBox="1"/>
          <p:nvPr/>
        </p:nvSpPr>
        <p:spPr>
          <a:xfrm>
            <a:off x="2171400" y="6075842"/>
            <a:ext cx="70280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800" i="1" dirty="0">
                <a:solidFill>
                  <a:srgbClr val="FF0000"/>
                </a:solidFill>
              </a:rPr>
              <a:t>Nederst på siden har vi relevante artikler fra </a:t>
            </a:r>
            <a:r>
              <a:rPr lang="da-DK" sz="1800" i="1" dirty="0" err="1">
                <a:solidFill>
                  <a:srgbClr val="FF0000"/>
                </a:solidFill>
              </a:rPr>
              <a:t>Boligas</a:t>
            </a:r>
            <a:r>
              <a:rPr lang="da-DK" sz="1800" i="1" dirty="0">
                <a:solidFill>
                  <a:srgbClr val="FF0000"/>
                </a:solidFill>
              </a:rPr>
              <a:t> artikeldatabase. </a:t>
            </a:r>
          </a:p>
        </p:txBody>
      </p:sp>
    </p:spTree>
    <p:extLst>
      <p:ext uri="{BB962C8B-B14F-4D97-AF65-F5344CB8AC3E}">
        <p14:creationId xmlns:p14="http://schemas.microsoft.com/office/powerpoint/2010/main" val="4290941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p9Bu4VVUr.RI2E5hE.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O5._ySEq50l0GTRwN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O5._ySEq50l0GTRwN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p9Bu4VVUr.RI2E5hE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p9Bu4VVUr.RI2E5hE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O5._ySEq50l0GTRwN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p9Bu4VVUr.RI2E5hE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O5._ySEq50l0GTRwN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p9Bu4VVUr.RI2E5hE.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BO5._ySEq50l0GTRwNgQ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</TotalTime>
  <Words>438</Words>
  <Application>Microsoft Office PowerPoint</Application>
  <PresentationFormat>Widescreen</PresentationFormat>
  <Paragraphs>102</Paragraphs>
  <Slides>3</Slides>
  <Notes>1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Montserrat Classic</vt:lpstr>
      <vt:lpstr>Office-tema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ars Groth</dc:creator>
  <cp:lastModifiedBy>Lars Groth</cp:lastModifiedBy>
  <cp:revision>1</cp:revision>
  <dcterms:created xsi:type="dcterms:W3CDTF">2022-09-28T10:54:15Z</dcterms:created>
  <dcterms:modified xsi:type="dcterms:W3CDTF">2022-09-28T13:10:43Z</dcterms:modified>
</cp:coreProperties>
</file>